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3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5" r:id="rId11"/>
    <p:sldId id="288" r:id="rId12"/>
    <p:sldId id="271" r:id="rId13"/>
    <p:sldId id="272" r:id="rId14"/>
    <p:sldId id="289" r:id="rId15"/>
    <p:sldId id="290" r:id="rId16"/>
    <p:sldId id="277" r:id="rId17"/>
    <p:sldId id="291" r:id="rId18"/>
    <p:sldId id="281" r:id="rId19"/>
    <p:sldId id="282" r:id="rId20"/>
    <p:sldId id="292" r:id="rId21"/>
    <p:sldId id="268" r:id="rId22"/>
  </p:sldIdLst>
  <p:sldSz cx="12192000" cy="6858000"/>
  <p:notesSz cx="6858000" cy="9144000"/>
  <p:embeddedFontLst>
    <p:embeddedFont>
      <p:font typeface="Barlow Light" panose="020B0604020202020204" charset="0"/>
      <p:regular r:id="rId24"/>
      <p:bold r:id="rId25"/>
      <p:italic r:id="rId26"/>
      <p:bold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Oswald" pitchFamily="2" charset="0"/>
      <p:regular r:id="rId32"/>
      <p:bold r:id="rId33"/>
    </p:embeddedFont>
    <p:embeddedFont>
      <p:font typeface="Raleway" panose="020B0604020202020204" charset="0"/>
      <p:regular r:id="rId34"/>
      <p:bold r:id="rId35"/>
      <p:italic r:id="rId36"/>
      <p:boldItalic r:id="rId37"/>
    </p:embeddedFont>
    <p:embeddedFont>
      <p:font typeface="Raleway Thin" panose="020B0604020202020204" charset="0"/>
      <p:regular r:id="rId38"/>
      <p:bold r:id="rId39"/>
      <p:italic r:id="rId40"/>
      <p:boldItalic r:id="rId41"/>
    </p:embeddedFont>
    <p:embeddedFont>
      <p:font typeface="Sitka Text Semibold" pitchFamily="2" charset="0"/>
      <p:bold r:id="rId42"/>
      <p:boldItalic r:id="rId4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5DD"/>
    <a:srgbClr val="F7F8FB"/>
    <a:srgbClr val="D3D6E5"/>
    <a:srgbClr val="FEF5CD"/>
    <a:srgbClr val="EEE9FF"/>
    <a:srgbClr val="D1B9FF"/>
    <a:srgbClr val="474C5C"/>
    <a:srgbClr val="EDEEF5"/>
    <a:srgbClr val="4895EF"/>
    <a:srgbClr val="4CC9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3.fntdata"/><Relationship Id="rId39" Type="http://schemas.openxmlformats.org/officeDocument/2006/relationships/font" Target="fonts/font16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11.fntdata"/><Relationship Id="rId42" Type="http://schemas.openxmlformats.org/officeDocument/2006/relationships/font" Target="fonts/font19.fntdata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font" Target="fonts/font15.fntdata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6.fntdata"/><Relationship Id="rId41" Type="http://schemas.openxmlformats.org/officeDocument/2006/relationships/font" Target="fonts/font1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font" Target="fonts/font14.fntdata"/><Relationship Id="rId40" Type="http://schemas.openxmlformats.org/officeDocument/2006/relationships/font" Target="fonts/font17.fntdata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36" Type="http://schemas.openxmlformats.org/officeDocument/2006/relationships/font" Target="fonts/font13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8.fntdata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43" Type="http://schemas.openxmlformats.org/officeDocument/2006/relationships/font" Target="fonts/font20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ckerrank.com/cs112-l21-n16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650379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743996" y="1122361"/>
            <a:ext cx="401540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3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096" y="200692"/>
            <a:ext cx="2835966" cy="477079"/>
          </a:xfrm>
        </p:spPr>
        <p:txBody>
          <a:bodyPr/>
          <a:lstStyle/>
          <a:p>
            <a:r>
              <a:rPr lang="en-US" sz="3200"/>
              <a:t>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095" y="681593"/>
            <a:ext cx="4386470" cy="2239619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tối thiểu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211450" y="211450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8AC12F-A1F5-4E95-B5D1-CD2E1644BED6}"/>
              </a:ext>
            </a:extLst>
          </p:cNvPr>
          <p:cNvSpPr txBox="1">
            <a:spLocks/>
          </p:cNvSpPr>
          <p:nvPr/>
        </p:nvSpPr>
        <p:spPr>
          <a:xfrm>
            <a:off x="583095" y="2921212"/>
            <a:ext cx="233238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Abstraction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879EB89-F9E1-49C4-9A42-3A61F7E3521B}"/>
              </a:ext>
            </a:extLst>
          </p:cNvPr>
          <p:cNvSpPr/>
          <p:nvPr/>
        </p:nvSpPr>
        <p:spPr>
          <a:xfrm rot="5400000">
            <a:off x="-211450" y="2931970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524DAB6-E04E-4F54-8FBA-7EBBEAA09C5C}"/>
              </a:ext>
            </a:extLst>
          </p:cNvPr>
          <p:cNvSpPr txBox="1">
            <a:spLocks/>
          </p:cNvSpPr>
          <p:nvPr/>
        </p:nvSpPr>
        <p:spPr>
          <a:xfrm>
            <a:off x="583095" y="3429001"/>
            <a:ext cx="5181600" cy="1302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 u="sng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</a:t>
            </a:r>
            <a:r>
              <a:rPr lang="en-US" sz="2000" b="1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ảng days gồm n phần tử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2k, 7 ngày 7k, 30 ngày 25k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 u="sng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</a:t>
            </a:r>
            <a:r>
              <a:rPr lang="en-US" sz="2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i phí tối thiểu sau khi đi hết n phần tử</a:t>
            </a:r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297A728-94AC-4659-B13B-78955143A0A1}"/>
              </a:ext>
            </a:extLst>
          </p:cNvPr>
          <p:cNvSpPr txBox="1">
            <a:spLocks/>
          </p:cNvSpPr>
          <p:nvPr/>
        </p:nvSpPr>
        <p:spPr>
          <a:xfrm>
            <a:off x="583095" y="4986129"/>
            <a:ext cx="367085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Pattern regconition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5075A08E-91AD-4905-8FCF-D447093A1191}"/>
              </a:ext>
            </a:extLst>
          </p:cNvPr>
          <p:cNvSpPr/>
          <p:nvPr/>
        </p:nvSpPr>
        <p:spPr>
          <a:xfrm rot="5400000">
            <a:off x="-211450" y="4996887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9A58A1-DF65-43A0-8F16-960592349FCA}"/>
              </a:ext>
            </a:extLst>
          </p:cNvPr>
          <p:cNvSpPr txBox="1">
            <a:spLocks/>
          </p:cNvSpPr>
          <p:nvPr/>
        </p:nvSpPr>
        <p:spPr>
          <a:xfrm>
            <a:off x="583095" y="5513923"/>
            <a:ext cx="9077740" cy="1159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Tính chi phí tối thiểu sau mỗi bướ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Chi phí tối thiểu ở bài toán con giúp tính toán chi phí tối thiểu ở bài toán mẹ</a:t>
            </a:r>
          </a:p>
          <a:p>
            <a:pPr algn="just"/>
            <a:r>
              <a:rPr lang="en-US" sz="2000">
                <a:solidFill>
                  <a:schemeClr val="tx1"/>
                </a:solidFill>
                <a:sym typeface="Wingdings" panose="05000000000000000000" pitchFamily="2" charset="2"/>
              </a:rPr>
              <a:t> Sử dụng quy hoạch động để lưu kết quả bài toán con</a:t>
            </a: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  <p:bldP spid="5" grpId="0"/>
      <p:bldP spid="6" grpId="0" animBg="1"/>
      <p:bldP spid="7" grpId="0"/>
      <p:bldP spid="8" grpId="0"/>
      <p:bldP spid="9" grpId="0" animBg="1"/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1148" y="1122361"/>
            <a:ext cx="3882887" cy="547411"/>
          </a:xfrm>
        </p:spPr>
        <p:txBody>
          <a:bodyPr/>
          <a:lstStyle/>
          <a:p>
            <a:r>
              <a:rPr lang="en-US" sz="4000"/>
              <a:t>Bài 2: Algorith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3913" y="1848312"/>
            <a:ext cx="8574157" cy="4791027"/>
          </a:xfrm>
        </p:spPr>
        <p:txBody>
          <a:bodyPr/>
          <a:lstStyle/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Times New Roman" panose="02020603050405020304" pitchFamily="18" charset="0"/>
                <a:cs typeface="Calibri"/>
              </a:rPr>
              <a:t>Sử dụng quy hoạch động để lưu kết quả bài toán con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Calibri"/>
              </a:rPr>
              <a:t>V</a:t>
            </a:r>
            <a:r>
              <a:rPr lang="en-US" sz="200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í 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d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ụ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 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ẫ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u: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 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ả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Có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ườ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7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0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í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ố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(2k)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ê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đâ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quả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4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6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}.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, 29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9k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=&gt; 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ỗi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xé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ê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ì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ì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ỏ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82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0EB00D62-92FE-4206-BA5D-C6E7F71026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460910"/>
              </p:ext>
            </p:extLst>
          </p:nvPr>
        </p:nvGraphicFramePr>
        <p:xfrm>
          <a:off x="900953" y="1196889"/>
          <a:ext cx="9977018" cy="5486404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772785">
                  <a:extLst>
                    <a:ext uri="{9D8B030D-6E8A-4147-A177-3AD203B41FA5}">
                      <a16:colId xmlns:a16="http://schemas.microsoft.com/office/drawing/2014/main" val="1414237224"/>
                    </a:ext>
                  </a:extLst>
                </a:gridCol>
                <a:gridCol w="1338265">
                  <a:extLst>
                    <a:ext uri="{9D8B030D-6E8A-4147-A177-3AD203B41FA5}">
                      <a16:colId xmlns:a16="http://schemas.microsoft.com/office/drawing/2014/main" val="641552895"/>
                    </a:ext>
                  </a:extLst>
                </a:gridCol>
                <a:gridCol w="1302119">
                  <a:extLst>
                    <a:ext uri="{9D8B030D-6E8A-4147-A177-3AD203B41FA5}">
                      <a16:colId xmlns:a16="http://schemas.microsoft.com/office/drawing/2014/main" val="3901126404"/>
                    </a:ext>
                  </a:extLst>
                </a:gridCol>
                <a:gridCol w="1347908">
                  <a:extLst>
                    <a:ext uri="{9D8B030D-6E8A-4147-A177-3AD203B41FA5}">
                      <a16:colId xmlns:a16="http://schemas.microsoft.com/office/drawing/2014/main" val="956546972"/>
                    </a:ext>
                  </a:extLst>
                </a:gridCol>
                <a:gridCol w="1378016">
                  <a:extLst>
                    <a:ext uri="{9D8B030D-6E8A-4147-A177-3AD203B41FA5}">
                      <a16:colId xmlns:a16="http://schemas.microsoft.com/office/drawing/2014/main" val="1702516680"/>
                    </a:ext>
                  </a:extLst>
                </a:gridCol>
                <a:gridCol w="1417765">
                  <a:extLst>
                    <a:ext uri="{9D8B030D-6E8A-4147-A177-3AD203B41FA5}">
                      <a16:colId xmlns:a16="http://schemas.microsoft.com/office/drawing/2014/main" val="2307264281"/>
                    </a:ext>
                  </a:extLst>
                </a:gridCol>
                <a:gridCol w="1420160">
                  <a:extLst>
                    <a:ext uri="{9D8B030D-6E8A-4147-A177-3AD203B41FA5}">
                      <a16:colId xmlns:a16="http://schemas.microsoft.com/office/drawing/2014/main" val="2847871517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0]=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1]=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2]=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3]=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4]=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5]=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958655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dp(3)+2=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1573012"/>
                  </a:ext>
                </a:extLst>
              </a:tr>
              <a:tr h="391886">
                <a:tc rowSpan="5"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7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7=1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7=1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37876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77734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08027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233589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032274"/>
                  </a:ext>
                </a:extLst>
              </a:tr>
              <a:tr h="391886">
                <a:tc rowSpan="6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0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5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25=3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02120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30816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27905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30453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250433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2724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 = min( ) =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67649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579BF6F4-54D5-447E-B8B4-3726087F66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1400" y="339324"/>
            <a:ext cx="2367817" cy="354397"/>
          </a:xfrm>
        </p:spPr>
        <p:txBody>
          <a:bodyPr/>
          <a:lstStyle/>
          <a:p>
            <a:r>
              <a:rPr lang="en-US" sz="2400"/>
              <a:t>Bài 2: Algorithm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02F1174-A2EC-4A1C-974D-D93B55045DAD}"/>
              </a:ext>
            </a:extLst>
          </p:cNvPr>
          <p:cNvSpPr/>
          <p:nvPr/>
        </p:nvSpPr>
        <p:spPr>
          <a:xfrm rot="5400000">
            <a:off x="-223441" y="275824"/>
            <a:ext cx="928281" cy="48139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48D7A0-576A-4E54-95A0-2ED5508F44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59873"/>
              </p:ext>
            </p:extLst>
          </p:nvPr>
        </p:nvGraphicFramePr>
        <p:xfrm>
          <a:off x="2673307" y="1588775"/>
          <a:ext cx="1338265" cy="509451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338265">
                  <a:extLst>
                    <a:ext uri="{9D8B030D-6E8A-4147-A177-3AD203B41FA5}">
                      <a16:colId xmlns:a16="http://schemas.microsoft.com/office/drawing/2014/main" val="687459296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222147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28922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5980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93963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4779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204549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88208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88194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6607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3013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81691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8366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390585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E74AC00-B720-4848-B5F2-7AB02A319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654015"/>
              </p:ext>
            </p:extLst>
          </p:nvPr>
        </p:nvGraphicFramePr>
        <p:xfrm>
          <a:off x="4013049" y="1978925"/>
          <a:ext cx="1299511" cy="1963235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29951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2647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EB0AAA1D-1AF4-44AE-A870-D47305963A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901689"/>
              </p:ext>
            </p:extLst>
          </p:nvPr>
        </p:nvGraphicFramePr>
        <p:xfrm>
          <a:off x="4013049" y="3940091"/>
          <a:ext cx="1302119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02119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065BC34E-29DA-47FA-817F-01F42ACDE8E9}"/>
              </a:ext>
            </a:extLst>
          </p:cNvPr>
          <p:cNvSpPr/>
          <p:nvPr/>
        </p:nvSpPr>
        <p:spPr>
          <a:xfrm>
            <a:off x="4035458" y="1612878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0)+2=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3EF29B-E479-41B5-B97B-F837BF702AFE}"/>
              </a:ext>
            </a:extLst>
          </p:cNvPr>
          <p:cNvSpPr/>
          <p:nvPr/>
        </p:nvSpPr>
        <p:spPr>
          <a:xfrm>
            <a:off x="403545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A747DF0-B84B-4A37-BD26-83F5FD9E2A1F}"/>
              </a:ext>
            </a:extLst>
          </p:cNvPr>
          <p:cNvSpPr/>
          <p:nvPr/>
        </p:nvSpPr>
        <p:spPr>
          <a:xfrm>
            <a:off x="539049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7B175E-3650-48FC-B3C0-B7ABF61B62F8}"/>
              </a:ext>
            </a:extLst>
          </p:cNvPr>
          <p:cNvSpPr/>
          <p:nvPr/>
        </p:nvSpPr>
        <p:spPr>
          <a:xfrm>
            <a:off x="674552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41D415-9495-4F87-85D4-602918F76936}"/>
              </a:ext>
            </a:extLst>
          </p:cNvPr>
          <p:cNvSpPr/>
          <p:nvPr/>
        </p:nvSpPr>
        <p:spPr>
          <a:xfrm>
            <a:off x="810056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9ED1AB-52A1-4376-BC35-F49216A6CC24}"/>
              </a:ext>
            </a:extLst>
          </p:cNvPr>
          <p:cNvSpPr/>
          <p:nvPr/>
        </p:nvSpPr>
        <p:spPr>
          <a:xfrm>
            <a:off x="9489266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D4FD6F60-652D-488E-81B6-7C585F97E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301446"/>
              </p:ext>
            </p:extLst>
          </p:nvPr>
        </p:nvGraphicFramePr>
        <p:xfrm>
          <a:off x="6663349" y="1980661"/>
          <a:ext cx="1380134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C5165D6B-CC14-49E5-8279-646AE04AE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620875"/>
              </p:ext>
            </p:extLst>
          </p:nvPr>
        </p:nvGraphicFramePr>
        <p:xfrm>
          <a:off x="8043483" y="1984269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8CECB10-D23F-4F04-A1D3-6765B59B1A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268643"/>
              </p:ext>
            </p:extLst>
          </p:nvPr>
        </p:nvGraphicFramePr>
        <p:xfrm>
          <a:off x="9458890" y="1980661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768AAC32-C476-40C5-9FBE-30B6621360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914657"/>
              </p:ext>
            </p:extLst>
          </p:nvPr>
        </p:nvGraphicFramePr>
        <p:xfrm>
          <a:off x="5315168" y="1980661"/>
          <a:ext cx="1348181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818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8BBEF51B-77E9-410E-8E9C-56D965684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19207"/>
              </p:ext>
            </p:extLst>
          </p:nvPr>
        </p:nvGraphicFramePr>
        <p:xfrm>
          <a:off x="5319989" y="3940091"/>
          <a:ext cx="1340385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0385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89E95-8558-45F8-AB98-BD917CAAE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319152"/>
              </p:ext>
            </p:extLst>
          </p:nvPr>
        </p:nvGraphicFramePr>
        <p:xfrm>
          <a:off x="6660374" y="3940091"/>
          <a:ext cx="1380134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B7D9CF12-7288-4A51-8F81-EE74FE718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8230"/>
              </p:ext>
            </p:extLst>
          </p:nvPr>
        </p:nvGraphicFramePr>
        <p:xfrm>
          <a:off x="8040508" y="3940091"/>
          <a:ext cx="1422056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22056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0E2119BD-0DBA-4048-908D-8CCE8FF361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953220"/>
              </p:ext>
            </p:extLst>
          </p:nvPr>
        </p:nvGraphicFramePr>
        <p:xfrm>
          <a:off x="9462564" y="3940091"/>
          <a:ext cx="1412432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2432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63A51E16-F22F-4D9E-AF2A-6BF4A8A1CA8E}"/>
              </a:ext>
            </a:extLst>
          </p:cNvPr>
          <p:cNvSpPr/>
          <p:nvPr/>
        </p:nvSpPr>
        <p:spPr>
          <a:xfrm>
            <a:off x="5360608" y="161287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1)+2=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DA7D351-BCC3-45C1-A034-9F7C2F1EAFE7}"/>
              </a:ext>
            </a:extLst>
          </p:cNvPr>
          <p:cNvSpPr/>
          <p:nvPr/>
        </p:nvSpPr>
        <p:spPr>
          <a:xfrm>
            <a:off x="6709644" y="161423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2)+2=6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79DDD96-868F-4409-9E31-7933608F2309}"/>
              </a:ext>
            </a:extLst>
          </p:cNvPr>
          <p:cNvSpPr/>
          <p:nvPr/>
        </p:nvSpPr>
        <p:spPr>
          <a:xfrm>
            <a:off x="8049531" y="3204242"/>
            <a:ext cx="1272461" cy="263178"/>
          </a:xfrm>
          <a:prstGeom prst="rect">
            <a:avLst/>
          </a:prstGeom>
          <a:solidFill>
            <a:srgbClr val="D3D6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65760"/>
            <a:r>
              <a:rPr lang="en-US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p(0)+7=7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BA799C-46EE-42CC-AD22-0A4C95DB3CF6}"/>
              </a:ext>
            </a:extLst>
          </p:cNvPr>
          <p:cNvSpPr/>
          <p:nvPr/>
        </p:nvSpPr>
        <p:spPr>
          <a:xfrm>
            <a:off x="9489266" y="1598276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4)+2=9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CBA3A43-BB12-4610-A750-66C4490A3FF9}"/>
              </a:ext>
            </a:extLst>
          </p:cNvPr>
          <p:cNvSpPr/>
          <p:nvPr/>
        </p:nvSpPr>
        <p:spPr>
          <a:xfrm>
            <a:off x="8122886" y="1611000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6487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26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2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51" dur="indefinit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5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"/>
                            </p:stCondLst>
                            <p:childTnLst>
                              <p:par>
                                <p:cTn id="74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75" dur="indefinite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7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5" presetClass="emph" presetSubtype="0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02" dur="indefinit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0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50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26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2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 animBg="1"/>
      <p:bldP spid="30" grpId="2" animBg="1"/>
      <p:bldP spid="31" grpId="0" animBg="1"/>
      <p:bldP spid="32" grpId="0" animBg="1"/>
      <p:bldP spid="33" grpId="0" animBg="1"/>
      <p:bldP spid="34" grpId="0" animBg="1"/>
      <p:bldP spid="35" grpId="0" animBg="1"/>
      <p:bldP spid="45" grpId="0" animBg="1"/>
      <p:bldP spid="45" grpId="1" animBg="1"/>
      <p:bldP spid="45" grpId="2" animBg="1"/>
      <p:bldP spid="46" grpId="0" animBg="1"/>
      <p:bldP spid="46" grpId="1" animBg="1"/>
      <p:bldP spid="46" grpId="2" animBg="1"/>
      <p:bldP spid="47" grpId="0" animBg="1"/>
      <p:bldP spid="47" grpId="1" animBg="1"/>
      <p:bldP spid="47" grpId="2" animBg="1"/>
      <p:bldP spid="48" grpId="0" animBg="1"/>
      <p:bldP spid="48" grpId="1" animBg="1"/>
      <p:bldP spid="48" grpId="2" animBg="1"/>
      <p:bldP spid="4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096" y="3188244"/>
            <a:ext cx="2835966" cy="477079"/>
          </a:xfrm>
        </p:spPr>
        <p:txBody>
          <a:bodyPr/>
          <a:lstStyle/>
          <a:p>
            <a:r>
              <a:rPr lang="en-US" sz="3200"/>
              <a:t>Decompos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211450" y="3199002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8AC12F-A1F5-4E95-B5D1-CD2E1644BED6}"/>
              </a:ext>
            </a:extLst>
          </p:cNvPr>
          <p:cNvSpPr txBox="1">
            <a:spLocks/>
          </p:cNvSpPr>
          <p:nvPr/>
        </p:nvSpPr>
        <p:spPr>
          <a:xfrm>
            <a:off x="583095" y="184127"/>
            <a:ext cx="233238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Abstraction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879EB89-F9E1-49C4-9A42-3A61F7E3521B}"/>
              </a:ext>
            </a:extLst>
          </p:cNvPr>
          <p:cNvSpPr/>
          <p:nvPr/>
        </p:nvSpPr>
        <p:spPr>
          <a:xfrm rot="5400000">
            <a:off x="-211450" y="194885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297A728-94AC-4659-B13B-78955143A0A1}"/>
              </a:ext>
            </a:extLst>
          </p:cNvPr>
          <p:cNvSpPr txBox="1">
            <a:spLocks/>
          </p:cNvSpPr>
          <p:nvPr/>
        </p:nvSpPr>
        <p:spPr>
          <a:xfrm>
            <a:off x="583095" y="4986129"/>
            <a:ext cx="3670853" cy="477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3200"/>
              <a:t>Pattern regconition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5075A08E-91AD-4905-8FCF-D447093A1191}"/>
              </a:ext>
            </a:extLst>
          </p:cNvPr>
          <p:cNvSpPr/>
          <p:nvPr/>
        </p:nvSpPr>
        <p:spPr>
          <a:xfrm rot="5400000">
            <a:off x="-211450" y="4996887"/>
            <a:ext cx="878465" cy="45556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9A58A1-DF65-43A0-8F16-960592349FCA}"/>
              </a:ext>
            </a:extLst>
          </p:cNvPr>
          <p:cNvSpPr txBox="1">
            <a:spLocks/>
          </p:cNvSpPr>
          <p:nvPr/>
        </p:nvSpPr>
        <p:spPr>
          <a:xfrm>
            <a:off x="583095" y="5513923"/>
            <a:ext cx="9077740" cy="1159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Xác định hòn đảo cần duyệt qua tất cả các đất liền nằm sát nhau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Có thể coi các hòn đảo là 1 đồ thị gồm các node là các đất liền. </a:t>
            </a:r>
          </a:p>
          <a:p>
            <a:pPr algn="just"/>
            <a:r>
              <a:rPr lang="en-US" sz="200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2000">
                <a:solidFill>
                  <a:schemeClr val="tx1"/>
                </a:solidFill>
              </a:rPr>
              <a:t>Để duyệt hết các đất liền cạnh nhau có thể dùng </a:t>
            </a:r>
            <a:r>
              <a:rPr lang="en-US" sz="2000">
                <a:solidFill>
                  <a:schemeClr val="accent4"/>
                </a:solidFill>
              </a:rPr>
              <a:t>BFS</a:t>
            </a:r>
            <a:r>
              <a:rPr lang="en-US" sz="2000">
                <a:solidFill>
                  <a:schemeClr val="tx1"/>
                </a:solidFill>
              </a:rPr>
              <a:t>, </a:t>
            </a:r>
            <a:r>
              <a:rPr lang="en-US" sz="2000">
                <a:solidFill>
                  <a:schemeClr val="accent4"/>
                </a:solidFill>
              </a:rPr>
              <a:t>DFS</a:t>
            </a:r>
            <a:r>
              <a:rPr lang="en-US" sz="2000">
                <a:solidFill>
                  <a:schemeClr val="tx1"/>
                </a:solidFill>
              </a:rPr>
              <a:t> hay </a:t>
            </a:r>
            <a:r>
              <a:rPr lang="en-US" sz="2000">
                <a:solidFill>
                  <a:schemeClr val="accent4"/>
                </a:solidFill>
              </a:rPr>
              <a:t>đệ quy</a:t>
            </a:r>
            <a:r>
              <a:rPr lang="en-US" sz="20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FDA1CF1-3CF1-456D-BFE0-A3CF318F7BDC}"/>
              </a:ext>
            </a:extLst>
          </p:cNvPr>
          <p:cNvSpPr txBox="1">
            <a:spLocks/>
          </p:cNvSpPr>
          <p:nvPr/>
        </p:nvSpPr>
        <p:spPr>
          <a:xfrm>
            <a:off x="583094" y="3683796"/>
            <a:ext cx="3032760" cy="1091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7E40F0-24D8-482A-BC77-0CA7A2DCAB83}"/>
              </a:ext>
            </a:extLst>
          </p:cNvPr>
          <p:cNvSpPr txBox="1"/>
          <p:nvPr/>
        </p:nvSpPr>
        <p:spPr>
          <a:xfrm>
            <a:off x="560655" y="664292"/>
            <a:ext cx="975705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Khu vực : ma trận hình chữ nhật gồm các phần tử 0,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Ràng buộc để tạo thành đảo: gồm nhiều đất liền sát nhau bị bao vây bởi nước</a:t>
            </a:r>
          </a:p>
          <a:p>
            <a:r>
              <a:rPr lang="en-US" sz="2000" b="1" u="sng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Barlow Light" panose="020B0604020202020204" charset="0"/>
                <a:cs typeface="Barlow Light" panose="020B0604020202020204" charset="0"/>
              </a:rPr>
              <a:t>Số lượng đảo</a:t>
            </a:r>
          </a:p>
        </p:txBody>
      </p:sp>
    </p:spTree>
    <p:extLst>
      <p:ext uri="{BB962C8B-B14F-4D97-AF65-F5344CB8AC3E}">
        <p14:creationId xmlns:p14="http://schemas.microsoft.com/office/powerpoint/2010/main" val="3282009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 animBg="1"/>
      <p:bldP spid="8" grpId="0"/>
      <p:bldP spid="9" grpId="0" animBg="1"/>
      <p:bldP spid="10" grpId="0"/>
      <p:bldP spid="1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743581" y="1146232"/>
            <a:ext cx="377614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9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6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1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11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11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1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1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3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7" grpId="0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0" grpId="3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2" grpId="8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Qr code&#10;&#10;Description automatically generated">
            <a:extLst>
              <a:ext uri="{FF2B5EF4-FFF2-40B4-BE49-F238E27FC236}">
                <a16:creationId xmlns:a16="http://schemas.microsoft.com/office/drawing/2014/main" id="{A5258FAF-0958-45F9-B36E-247A0B76C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012" y="2278669"/>
            <a:ext cx="4195976" cy="4195976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44DA175-ECFA-4029-983E-5135FD217C83}"/>
              </a:ext>
            </a:extLst>
          </p:cNvPr>
          <p:cNvSpPr/>
          <p:nvPr/>
        </p:nvSpPr>
        <p:spPr>
          <a:xfrm rot="5400000">
            <a:off x="-345133" y="706224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7DB403-24CF-4815-BD84-EF74F2A1CCD1}"/>
              </a:ext>
            </a:extLst>
          </p:cNvPr>
          <p:cNvSpPr txBox="1"/>
          <p:nvPr/>
        </p:nvSpPr>
        <p:spPr>
          <a:xfrm>
            <a:off x="957738" y="847181"/>
            <a:ext cx="46241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</a:rPr>
              <a:t>Link bài tập về nh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057D9A-717C-4209-8124-1F2C332F9052}"/>
              </a:ext>
            </a:extLst>
          </p:cNvPr>
          <p:cNvSpPr txBox="1"/>
          <p:nvPr/>
        </p:nvSpPr>
        <p:spPr>
          <a:xfrm>
            <a:off x="3190444" y="1370401"/>
            <a:ext cx="5811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/>
            <a:r>
              <a:rPr lang="en-US" sz="2400" b="0" i="0">
                <a:solidFill>
                  <a:srgbClr val="39424E"/>
                </a:solidFill>
                <a:effectLst/>
                <a:latin typeface="OpenSans"/>
                <a:hlinkClick r:id="rId3"/>
              </a:rPr>
              <a:t>https://www.hackerrank.com/cs112-l21-n16</a:t>
            </a:r>
            <a:endParaRPr lang="en-US" sz="2400" b="0" i="0">
              <a:solidFill>
                <a:srgbClr val="39424E"/>
              </a:solidFill>
              <a:effectLst/>
              <a:latin typeface="OpenSans"/>
            </a:endParaRPr>
          </a:p>
        </p:txBody>
      </p:sp>
    </p:spTree>
    <p:extLst>
      <p:ext uri="{BB962C8B-B14F-4D97-AF65-F5344CB8AC3E}">
        <p14:creationId xmlns:p14="http://schemas.microsoft.com/office/powerpoint/2010/main" val="3798901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8141" y="924774"/>
            <a:ext cx="10548731" cy="1538167"/>
          </a:xfrm>
        </p:spPr>
        <p:txBody>
          <a:bodyPr/>
          <a:lstStyle/>
          <a:p>
            <a:pPr algn="l"/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 b="1" u="sng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 mảng có N phần t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 b="1" u="sng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</a:t>
            </a:r>
            <a:r>
              <a:rPr lang="en-US" sz="2000" b="1" u="sng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490329" y="350864"/>
            <a:ext cx="2941983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227586" y="362639"/>
            <a:ext cx="945503" cy="49033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06C4D4C-F779-4360-877B-9966B06AD24E}"/>
              </a:ext>
            </a:extLst>
          </p:cNvPr>
          <p:cNvSpPr txBox="1">
            <a:spLocks/>
          </p:cNvSpPr>
          <p:nvPr/>
        </p:nvSpPr>
        <p:spPr>
          <a:xfrm>
            <a:off x="490328" y="3080817"/>
            <a:ext cx="6400801" cy="17006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ìm tập hợp nào có tổng giá trị bằng nửa số tiền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9A4EE6-15D1-4B06-AA18-7D298F0584D6}"/>
              </a:ext>
            </a:extLst>
          </p:cNvPr>
          <p:cNvSpPr txBox="1">
            <a:spLocks/>
          </p:cNvSpPr>
          <p:nvPr/>
        </p:nvSpPr>
        <p:spPr>
          <a:xfrm>
            <a:off x="490329" y="2548738"/>
            <a:ext cx="3723861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Decomposition</a:t>
            </a:r>
          </a:p>
        </p:txBody>
      </p:sp>
      <p:pic>
        <p:nvPicPr>
          <p:cNvPr id="8" name="Picture 2" descr="Bugs Bunny Money GIF by Looney Tunes">
            <a:extLst>
              <a:ext uri="{FF2B5EF4-FFF2-40B4-BE49-F238E27FC236}">
                <a16:creationId xmlns:a16="http://schemas.microsoft.com/office/drawing/2014/main" id="{5B5B4F02-E19D-4278-B460-F2025A8E49F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682" y="3155294"/>
            <a:ext cx="3735654" cy="27023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38937C42-A4F7-4018-8D3E-D4AB762AF063}"/>
              </a:ext>
            </a:extLst>
          </p:cNvPr>
          <p:cNvSpPr/>
          <p:nvPr/>
        </p:nvSpPr>
        <p:spPr>
          <a:xfrm rot="5400000">
            <a:off x="-227589" y="2577277"/>
            <a:ext cx="945503" cy="49033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93D9C22-C284-4344-8674-BB4179E80EEE}"/>
              </a:ext>
            </a:extLst>
          </p:cNvPr>
          <p:cNvSpPr txBox="1">
            <a:spLocks/>
          </p:cNvSpPr>
          <p:nvPr/>
        </p:nvSpPr>
        <p:spPr>
          <a:xfrm>
            <a:off x="490327" y="4945657"/>
            <a:ext cx="449248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Pattern recognition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AFCB3929-0745-42CE-9B41-0781249C76DE}"/>
              </a:ext>
            </a:extLst>
          </p:cNvPr>
          <p:cNvSpPr/>
          <p:nvPr/>
        </p:nvSpPr>
        <p:spPr>
          <a:xfrm rot="5400000">
            <a:off x="-227591" y="4974196"/>
            <a:ext cx="945503" cy="49033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459ABE7-33A7-4467-89D4-D5E5827B1629}"/>
              </a:ext>
            </a:extLst>
          </p:cNvPr>
          <p:cNvSpPr txBox="1">
            <a:spLocks/>
          </p:cNvSpPr>
          <p:nvPr/>
        </p:nvSpPr>
        <p:spPr>
          <a:xfrm>
            <a:off x="490326" y="5551287"/>
            <a:ext cx="6400801" cy="1409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ổng giá trị các tập hợp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Tổng giá trị các tập hợp con có trong các tập hợp mẹ lớn hơn </a:t>
            </a:r>
            <a:r>
              <a:rPr lang="en-US" sz="2000">
                <a:sym typeface="Wingdings" panose="05000000000000000000" pitchFamily="2" charset="2"/>
              </a:rPr>
              <a:t> Sử dụng quy hoạch động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/>
      <p:bldP spid="4" grpId="0"/>
      <p:bldP spid="6" grpId="0" uiExpand="1"/>
      <p:bldP spid="7" grpId="0"/>
      <p:bldP spid="9" grpId="0" animBg="1"/>
      <p:bldP spid="10" grpId="0"/>
      <p:bldP spid="11" grpId="0" animBg="1"/>
      <p:bldP spid="12" grpId="0" uiExpan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447</TotalTime>
  <Words>1750</Words>
  <Application>Microsoft Office PowerPoint</Application>
  <PresentationFormat>Widescreen</PresentationFormat>
  <Paragraphs>344</Paragraphs>
  <Slides>2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Sitka Text Semibold</vt:lpstr>
      <vt:lpstr>Calibri</vt:lpstr>
      <vt:lpstr>Barlow Light</vt:lpstr>
      <vt:lpstr>OpenSans</vt:lpstr>
      <vt:lpstr>Arial</vt:lpstr>
      <vt:lpstr>Symbol</vt:lpstr>
      <vt:lpstr>Raleway Thin</vt:lpstr>
      <vt:lpstr>Raleway</vt:lpstr>
      <vt:lpstr>Oswald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Bài 2:</vt:lpstr>
      <vt:lpstr>Decomposition</vt:lpstr>
      <vt:lpstr>Bài 2: Algorithm</vt:lpstr>
      <vt:lpstr>Bài 2: Algorithm</vt:lpstr>
      <vt:lpstr>Bài 3:</vt:lpstr>
      <vt:lpstr>Decomposition</vt:lpstr>
      <vt:lpstr>PowerPoint Presentation</vt:lpstr>
      <vt:lpstr>PowerPoint Presentation</vt:lpstr>
      <vt:lpstr>PowerPoint Presentation</vt:lpstr>
      <vt:lpstr>Cảm ơn thầy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69</cp:revision>
  <dcterms:created xsi:type="dcterms:W3CDTF">2021-05-21T14:55:51Z</dcterms:created>
  <dcterms:modified xsi:type="dcterms:W3CDTF">2021-06-12T07:45:24Z</dcterms:modified>
</cp:coreProperties>
</file>